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6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157C4D19-0FC1-450C-815A-53E65F58DE0A}">
          <cx:tx>
            <cx:txData>
              <cx:f>Sheet1!$B$1</cx:f>
              <cx:v>Series1</cx:v>
            </cx:txData>
          </cx:tx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endParaRPr lang="en-US" sz="1197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  <cx:axis id="1">
        <cx:val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400"/>
            </a:pPr>
            <a:endParaRPr lang="en-US" sz="14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400"/>
          </a:pPr>
          <a:endParaRPr lang="en-US" sz="1400" b="0" i="0" u="none" strike="noStrike" baseline="0">
            <a:solidFill>
              <a:prstClr val="black">
                <a:lumMod val="65000"/>
                <a:lumOff val="35000"/>
              </a:prstClr>
            </a:solidFill>
            <a:latin typeface="Arial"/>
          </a:endParaRPr>
        </a:p>
      </cx:txPr>
    </cx:legend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C9E73-F2F7-4C58-BF31-7F38D6994C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9360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3.xml"/><Relationship Id="rId6" Type="http://schemas.microsoft.com/office/2014/relationships/chartEx" Target="../charts/chartEx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8BEB65-0A7B-4507-AD76-BF4542B2FC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EF156EA-BA23-CB8D-4318-079310EBE8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F156EA-BA23-CB8D-4318-079310EBE8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057C70C1-AD77-F6F0-018F-323F5691F7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Waterfall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73E33C4-CEDE-C2D5-C580-BC0C35EE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F3DB3168-C22A-FAC7-479C-2F4BF29EC4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C4C0B58-4A4E-78A7-F6BF-D57874077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6" name="Chart Placeholder 5">
                <a:extLst>
                  <a:ext uri="{FF2B5EF4-FFF2-40B4-BE49-F238E27FC236}">
                    <a16:creationId xmlns:a16="http://schemas.microsoft.com/office/drawing/2014/main" id="{A7CA90D4-A2C7-F75F-15BC-C36EF038D76D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7015162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6" name="Chart Placeholder 5">
                <a:extLst>
                  <a:ext uri="{FF2B5EF4-FFF2-40B4-BE49-F238E27FC236}">
                    <a16:creationId xmlns:a16="http://schemas.microsoft.com/office/drawing/2014/main" id="{A7CA90D4-A2C7-F75F-15BC-C36EF038D76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4038" y="1720850"/>
                <a:ext cx="7015162" cy="4456113"/>
              </a:xfrm>
              <a:prstGeom prst="rect">
                <a:avLst/>
              </a:prstGeom>
            </p:spPr>
          </p:pic>
        </mc:Fallback>
      </mc:AlternateContent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77BCB220-6EAA-83EF-9E35-2EA2765241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28144CD8-6634-4516-F989-81BFCBCF38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07226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9</TotalTime>
  <Words>86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Waterfall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86</cp:revision>
  <dcterms:created xsi:type="dcterms:W3CDTF">2025-07-09T10:57:17Z</dcterms:created>
  <dcterms:modified xsi:type="dcterms:W3CDTF">2025-10-22T09:54:29Z</dcterms:modified>
  <cp:category/>
</cp:coreProperties>
</file>